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94" r:id="rId2"/>
    <p:sldId id="309" r:id="rId3"/>
    <p:sldId id="314" r:id="rId4"/>
    <p:sldId id="315" r:id="rId5"/>
    <p:sldId id="317" r:id="rId6"/>
    <p:sldId id="318" r:id="rId7"/>
    <p:sldId id="310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951F"/>
    <a:srgbClr val="436315"/>
    <a:srgbClr val="86BC25"/>
    <a:srgbClr val="6E9E1F"/>
    <a:srgbClr val="A2E72E"/>
    <a:srgbClr val="F3BE21"/>
    <a:srgbClr val="7BA681"/>
    <a:srgbClr val="28402F"/>
    <a:srgbClr val="FF58D4"/>
    <a:srgbClr val="F4AD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67" autoAdjust="0"/>
    <p:restoredTop sz="94934" autoAdjust="0"/>
  </p:normalViewPr>
  <p:slideViewPr>
    <p:cSldViewPr snapToGrid="0" showGuides="1">
      <p:cViewPr varScale="1">
        <p:scale>
          <a:sx n="108" d="100"/>
          <a:sy n="108" d="100"/>
        </p:scale>
        <p:origin x="846" y="9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2FADE-C6AB-4765-AB22-74EE1FC26D60}" type="datetime1">
              <a:rPr lang="en-ID" smtClean="0"/>
              <a:t>20/06/2025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FB15F4-625F-497D-BCA7-BD8E44F22A44}" type="datetime1">
              <a:rPr lang="en-ID" smtClean="0"/>
              <a:t>20/06/2025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owomen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-consultant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thecoachspace?utm_content=attributionCopyText&amp;utm_medium=referral&amp;utm_source=pexel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woman-doing-a-presentation-2977547/?utm_content=attributionCopyText&amp;utm_medium=referral&amp;utm_source=pexel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thecoachspace?utm_content=attributionCopyText&amp;utm_medium=referral&amp;utm_source=pexel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woman-doing-a-presentation-2977547/?utm_content=attributionCopyText&amp;utm_medium=referral&amp;utm_source=pexel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thecoachspace?utm_content=attributionCopyText&amp;utm_medium=referral&amp;utm_source=pexels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woman-doing-a-presentation-2977547/?utm_content=attributionCopyText&amp;utm_medium=referral&amp;utm_source=pexels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thecoachspace?utm_content=attributionCopyText&amp;utm_medium=referral&amp;utm_source=pexels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woman-doing-a-presentation-2977547/?utm_content=attributionCopyText&amp;utm_medium=referral&amp;utm_source=pexels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@thecoachspace?utm_content=attributionCopyText&amp;utm_medium=referral&amp;utm_source=pexels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exels.com/photo/woman-doing-a-presentation-2977547/?utm_content=attributionCopyText&amp;utm_medium=referral&amp;utm_source=pexels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harles_forerunner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siness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oWome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49573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he Coach Space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3369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263EB3-9649-C8EF-C327-E66ED00F17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86ED1E-F32D-9BCD-B1C0-066A162D88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E8FF7E-3F9D-BF50-6FF6-F8A8ED3EEA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he Coach Space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19628A-17C7-E162-97D5-2A39ACC5E4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604632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74DF9B-46BC-5F20-C9CB-1071DA0602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CFF4AF-B6AC-870F-43BC-09824826C6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2E3791-2FFB-2DE6-A82E-09BE71BB15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he Coach Space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168D4B-18DC-7BD9-EAEA-69C8DBC67E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771038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D7D608-41F9-ACFF-A423-3470A6D5A0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4FE055-8106-7874-DDE3-18F88A0F76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ADAC92-DC0F-E92A-6016-A533DCF759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he Coach Space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B647AE-63BA-6E6D-5AD4-D44F3E7E7B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440046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34B4E3-4090-2185-587A-9418D7A4FC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26B9A8-9D74-3393-2E40-5DF2EEAB50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6572C7-89B9-1A5B-F310-3C7F72136E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he Coach Space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ID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exel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F26753-A549-F14D-33F8-DFBE7BB296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72382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harle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Forerunner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311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1D26D96-3156-2848-AB33-A9008AE2C557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A84C1F-30EF-3C4C-8967-A6865E8EB0C2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1E0FD78-D048-D14B-A2E4-6F25A7EFF0B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2F9B1180-7809-2943-B3EC-F4893DF8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44EC518-7F56-445E-BDCE-430F0606D7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7959934-2835-AE43-91EB-3C6E5C77E231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2D9F5A-FE11-E746-855D-AC2B7AA10458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32AED00-603F-E445-A23C-8C7DC1BA8DE9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857818A7-A482-8045-892D-2A6EBE31C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60E7C96-C046-41EB-986A-65DADF9E88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1E7E851-7B1F-5B41-A538-D8C96A6243C4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4B31ED-59E1-3B48-A990-8369105A3802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46F576-47E3-1443-BA29-3F7CA369F9DA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C53208E-2781-FF47-9832-DD5197DC4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E184F9E-D229-42AC-B4B6-4DCBF9424E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599E37B-8FC5-0742-89FE-ACCBE1136F61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5DDC8A9-1DD4-EC44-8F7A-85F58B794F01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07334D0-D23C-B74C-8AB6-2D325160C63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ADCAAA5-1607-8440-AAFD-0D661E596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1B7116-2A8E-4BFA-A433-BB14A7986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B5F6394-DF9E-DB41-B2E0-8A4E1F481E7B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80A44A-0BBC-2244-BFF4-AC83777F9144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F400D30-4739-DB4D-8EC5-8E0ECE9BFF5E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F6A48583-5C8A-A643-989B-307723716C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7E64894-46B9-4752-8B83-9DD7B148EAE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5F1ED6E-A873-9042-A44A-C7F177FC672B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3AACF9-2286-E04C-AEF9-921404973FC2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F158E91-3963-B94C-81C3-90D561A16DC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7CC10119-76F8-D645-8BFC-6F99E08572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E9A169-F9C7-46D5-9988-A7F87BFBB1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E3D185FA-9EC1-D04D-A76A-2570C478DF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41AC1C2-7B26-48A2-B6CA-246EE22EFC7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53190A20-3C04-DC4E-A880-61B87B2EC187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B5C449-D20B-064B-9BC3-66C4F03460ED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60215C1-CA65-5A4A-9318-B0F0D84DEA1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51116461-0D22-4840-909B-36241F117F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3CCA7B-D4C6-4F0D-8944-CD952C8796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F1AA91A-8BDA-0448-804D-55BE2B24CDE9}"/>
              </a:ext>
            </a:extLst>
          </p:cNvPr>
          <p:cNvSpPr/>
          <p:nvPr userDrawn="1"/>
        </p:nvSpPr>
        <p:spPr>
          <a:xfrm>
            <a:off x="11295856" y="6386786"/>
            <a:ext cx="331788" cy="34249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C91EE4-107C-7844-9E67-F49992CCB1DA}"/>
              </a:ext>
            </a:extLst>
          </p:cNvPr>
          <p:cNvSpPr txBox="1"/>
          <p:nvPr userDrawn="1"/>
        </p:nvSpPr>
        <p:spPr>
          <a:xfrm>
            <a:off x="11295856" y="6474607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752A424-560A-E643-92A0-AD492D884619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4855" y="6558030"/>
            <a:ext cx="3671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3C5C263B-0737-F945-8FB7-56A8C94717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2" t="30941" r="12562" b="30941"/>
          <a:stretch/>
        </p:blipFill>
        <p:spPr>
          <a:xfrm>
            <a:off x="564356" y="6480724"/>
            <a:ext cx="747609" cy="154614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55BF172-CA75-4405-BB87-7557CB58BE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ce 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6A468B-75FD-447C-A98D-924DA44CAD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02072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ECB9EA-7CB4-48FC-95B4-2F138DEA56F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hyperlink" Target="../Desktop/Deloitte%20Assignment.pbix" TargetMode="Externa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F86910-73AD-2742-8CCF-E5783893E92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Freeform 14">
            <a:hlinkClick r:id="rId5" action="ppaction://hlinkfile"/>
            <a:extLst>
              <a:ext uri="{FF2B5EF4-FFF2-40B4-BE49-F238E27FC236}">
                <a16:creationId xmlns:a16="http://schemas.microsoft.com/office/drawing/2014/main" id="{0A2F1384-0B8B-194B-A1FD-B054DA070A1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295400 h 6858000"/>
              <a:gd name="connsiteX3" fmla="*/ 5875903 w 12192000"/>
              <a:gd name="connsiteY3" fmla="*/ 1295400 h 6858000"/>
              <a:gd name="connsiteX4" fmla="*/ 5486401 w 12192000"/>
              <a:gd name="connsiteY4" fmla="*/ 1625596 h 6858000"/>
              <a:gd name="connsiteX5" fmla="*/ 5486401 w 12192000"/>
              <a:gd name="connsiteY5" fmla="*/ 5232404 h 6858000"/>
              <a:gd name="connsiteX6" fmla="*/ 5875903 w 12192000"/>
              <a:gd name="connsiteY6" fmla="*/ 5562600 h 6858000"/>
              <a:gd name="connsiteX7" fmla="*/ 12192000 w 12192000"/>
              <a:gd name="connsiteY7" fmla="*/ 5562600 h 6858000"/>
              <a:gd name="connsiteX8" fmla="*/ 12192000 w 12192000"/>
              <a:gd name="connsiteY8" fmla="*/ 6858000 h 6858000"/>
              <a:gd name="connsiteX9" fmla="*/ 0 w 12192000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295400"/>
                </a:lnTo>
                <a:lnTo>
                  <a:pt x="5875903" y="1295400"/>
                </a:lnTo>
                <a:cubicBezTo>
                  <a:pt x="5660787" y="1295400"/>
                  <a:pt x="5486401" y="1443234"/>
                  <a:pt x="5486401" y="1625596"/>
                </a:cubicBezTo>
                <a:lnTo>
                  <a:pt x="5486401" y="5232404"/>
                </a:lnTo>
                <a:cubicBezTo>
                  <a:pt x="5486401" y="5414766"/>
                  <a:pt x="5660787" y="5562600"/>
                  <a:pt x="5875903" y="5562600"/>
                </a:cubicBezTo>
                <a:lnTo>
                  <a:pt x="12192000" y="556260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75E6A0D7-B889-6243-A943-14CCCE37CA1A}"/>
              </a:ext>
            </a:extLst>
          </p:cNvPr>
          <p:cNvSpPr/>
          <p:nvPr/>
        </p:nvSpPr>
        <p:spPr>
          <a:xfrm>
            <a:off x="5486400" y="1295400"/>
            <a:ext cx="6705599" cy="4267200"/>
          </a:xfrm>
          <a:custGeom>
            <a:avLst/>
            <a:gdLst>
              <a:gd name="connsiteX0" fmla="*/ 330196 w 5684604"/>
              <a:gd name="connsiteY0" fmla="*/ 0 h 4267200"/>
              <a:gd name="connsiteX1" fmla="*/ 5684604 w 5684604"/>
              <a:gd name="connsiteY1" fmla="*/ 0 h 4267200"/>
              <a:gd name="connsiteX2" fmla="*/ 5684604 w 5684604"/>
              <a:gd name="connsiteY2" fmla="*/ 4267200 h 4267200"/>
              <a:gd name="connsiteX3" fmla="*/ 330196 w 5684604"/>
              <a:gd name="connsiteY3" fmla="*/ 4267200 h 4267200"/>
              <a:gd name="connsiteX4" fmla="*/ 0 w 5684604"/>
              <a:gd name="connsiteY4" fmla="*/ 3937004 h 4267200"/>
              <a:gd name="connsiteX5" fmla="*/ 0 w 5684604"/>
              <a:gd name="connsiteY5" fmla="*/ 330196 h 4267200"/>
              <a:gd name="connsiteX6" fmla="*/ 330196 w 5684604"/>
              <a:gd name="connsiteY6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84604" h="4267200">
                <a:moveTo>
                  <a:pt x="330196" y="0"/>
                </a:moveTo>
                <a:lnTo>
                  <a:pt x="5684604" y="0"/>
                </a:lnTo>
                <a:lnTo>
                  <a:pt x="5684604" y="4267200"/>
                </a:lnTo>
                <a:lnTo>
                  <a:pt x="330196" y="4267200"/>
                </a:lnTo>
                <a:cubicBezTo>
                  <a:pt x="147834" y="4267200"/>
                  <a:pt x="0" y="4119366"/>
                  <a:pt x="0" y="3937004"/>
                </a:cubicBezTo>
                <a:lnTo>
                  <a:pt x="0" y="330196"/>
                </a:lnTo>
                <a:cubicBezTo>
                  <a:pt x="0" y="147834"/>
                  <a:pt x="147834" y="0"/>
                  <a:pt x="330196" y="0"/>
                </a:cubicBezTo>
                <a:close/>
              </a:path>
            </a:pathLst>
          </a:custGeom>
          <a:gradFill flip="none" rotWithShape="1">
            <a:gsLst>
              <a:gs pos="0">
                <a:srgbClr val="A2E72E">
                  <a:alpha val="84000"/>
                </a:srgbClr>
              </a:gs>
              <a:gs pos="100000">
                <a:srgbClr val="86BC2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A26A7C4-D736-C04D-B468-566F60DB4360}"/>
              </a:ext>
            </a:extLst>
          </p:cNvPr>
          <p:cNvSpPr txBox="1"/>
          <p:nvPr/>
        </p:nvSpPr>
        <p:spPr>
          <a:xfrm>
            <a:off x="6891549" y="1948960"/>
            <a:ext cx="2924145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signment - NSE Alliance – I &amp; CPM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7256E26-6D99-9C48-9294-087B870E6362}"/>
              </a:ext>
            </a:extLst>
          </p:cNvPr>
          <p:cNvCxnSpPr>
            <a:cxnSpLocks/>
          </p:cNvCxnSpPr>
          <p:nvPr/>
        </p:nvCxnSpPr>
        <p:spPr>
          <a:xfrm flipH="1">
            <a:off x="3791415" y="4232473"/>
            <a:ext cx="84005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71BD040C-FD16-C542-8D50-26395D4EBF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9844" y="4707723"/>
            <a:ext cx="1819354" cy="34490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4CCABB1-C14F-C04E-BB1E-B35C97C41183}"/>
              </a:ext>
            </a:extLst>
          </p:cNvPr>
          <p:cNvSpPr txBox="1"/>
          <p:nvPr/>
        </p:nvSpPr>
        <p:spPr>
          <a:xfrm>
            <a:off x="1441103" y="4109362"/>
            <a:ext cx="186826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Harsh </a:t>
            </a:r>
            <a:r>
              <a:rPr lang="en-US" sz="1600" dirty="0" err="1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Wardhan</a:t>
            </a:r>
            <a:r>
              <a:rPr lang="en-US" sz="16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Singh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0E5F2BA-8925-734F-A0E5-53285E0F63EE}"/>
              </a:ext>
            </a:extLst>
          </p:cNvPr>
          <p:cNvGrpSpPr/>
          <p:nvPr/>
        </p:nvGrpSpPr>
        <p:grpSpPr>
          <a:xfrm>
            <a:off x="1692739" y="2002629"/>
            <a:ext cx="1117368" cy="1492017"/>
            <a:chOff x="7764463" y="723900"/>
            <a:chExt cx="269875" cy="360363"/>
          </a:xfrm>
          <a:solidFill>
            <a:schemeClr val="bg1"/>
          </a:solidFill>
        </p:grpSpPr>
        <p:sp>
          <p:nvSpPr>
            <p:cNvPr id="23" name="Freeform 1542">
              <a:extLst>
                <a:ext uri="{FF2B5EF4-FFF2-40B4-BE49-F238E27FC236}">
                  <a16:creationId xmlns:a16="http://schemas.microsoft.com/office/drawing/2014/main" id="{287EBA95-BB27-AB4A-A969-FF01FD002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0025" y="798513"/>
              <a:ext cx="68263" cy="117475"/>
            </a:xfrm>
            <a:custGeom>
              <a:avLst/>
              <a:gdLst>
                <a:gd name="T0" fmla="*/ 9 w 18"/>
                <a:gd name="T1" fmla="*/ 31 h 31"/>
                <a:gd name="T2" fmla="*/ 0 w 18"/>
                <a:gd name="T3" fmla="*/ 23 h 31"/>
                <a:gd name="T4" fmla="*/ 2 w 18"/>
                <a:gd name="T5" fmla="*/ 21 h 31"/>
                <a:gd name="T6" fmla="*/ 4 w 18"/>
                <a:gd name="T7" fmla="*/ 23 h 31"/>
                <a:gd name="T8" fmla="*/ 9 w 18"/>
                <a:gd name="T9" fmla="*/ 27 h 31"/>
                <a:gd name="T10" fmla="*/ 14 w 18"/>
                <a:gd name="T11" fmla="*/ 23 h 31"/>
                <a:gd name="T12" fmla="*/ 9 w 18"/>
                <a:gd name="T13" fmla="*/ 18 h 31"/>
                <a:gd name="T14" fmla="*/ 0 w 18"/>
                <a:gd name="T15" fmla="*/ 9 h 31"/>
                <a:gd name="T16" fmla="*/ 9 w 18"/>
                <a:gd name="T17" fmla="*/ 0 h 31"/>
                <a:gd name="T18" fmla="*/ 18 w 18"/>
                <a:gd name="T19" fmla="*/ 9 h 31"/>
                <a:gd name="T20" fmla="*/ 16 w 18"/>
                <a:gd name="T21" fmla="*/ 11 h 31"/>
                <a:gd name="T22" fmla="*/ 14 w 18"/>
                <a:gd name="T23" fmla="*/ 9 h 31"/>
                <a:gd name="T24" fmla="*/ 9 w 18"/>
                <a:gd name="T25" fmla="*/ 4 h 31"/>
                <a:gd name="T26" fmla="*/ 4 w 18"/>
                <a:gd name="T27" fmla="*/ 9 h 31"/>
                <a:gd name="T28" fmla="*/ 9 w 18"/>
                <a:gd name="T29" fmla="*/ 14 h 31"/>
                <a:gd name="T30" fmla="*/ 18 w 18"/>
                <a:gd name="T31" fmla="*/ 23 h 31"/>
                <a:gd name="T32" fmla="*/ 9 w 18"/>
                <a:gd name="T3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31">
                  <a:moveTo>
                    <a:pt x="9" y="31"/>
                  </a:moveTo>
                  <a:cubicBezTo>
                    <a:pt x="4" y="31"/>
                    <a:pt x="0" y="28"/>
                    <a:pt x="0" y="23"/>
                  </a:cubicBezTo>
                  <a:cubicBezTo>
                    <a:pt x="0" y="22"/>
                    <a:pt x="1" y="21"/>
                    <a:pt x="2" y="21"/>
                  </a:cubicBezTo>
                  <a:cubicBezTo>
                    <a:pt x="3" y="21"/>
                    <a:pt x="4" y="22"/>
                    <a:pt x="4" y="23"/>
                  </a:cubicBezTo>
                  <a:cubicBezTo>
                    <a:pt x="4" y="25"/>
                    <a:pt x="6" y="27"/>
                    <a:pt x="9" y="27"/>
                  </a:cubicBezTo>
                  <a:cubicBezTo>
                    <a:pt x="12" y="27"/>
                    <a:pt x="14" y="25"/>
                    <a:pt x="14" y="23"/>
                  </a:cubicBezTo>
                  <a:cubicBezTo>
                    <a:pt x="14" y="20"/>
                    <a:pt x="12" y="18"/>
                    <a:pt x="9" y="18"/>
                  </a:cubicBez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0"/>
                    <a:pt x="17" y="11"/>
                    <a:pt x="16" y="11"/>
                  </a:cubicBezTo>
                  <a:cubicBezTo>
                    <a:pt x="15" y="11"/>
                    <a:pt x="14" y="10"/>
                    <a:pt x="14" y="9"/>
                  </a:cubicBezTo>
                  <a:cubicBezTo>
                    <a:pt x="14" y="7"/>
                    <a:pt x="12" y="4"/>
                    <a:pt x="9" y="4"/>
                  </a:cubicBezTo>
                  <a:cubicBezTo>
                    <a:pt x="6" y="4"/>
                    <a:pt x="4" y="7"/>
                    <a:pt x="4" y="9"/>
                  </a:cubicBezTo>
                  <a:cubicBezTo>
                    <a:pt x="4" y="12"/>
                    <a:pt x="6" y="14"/>
                    <a:pt x="9" y="14"/>
                  </a:cubicBezTo>
                  <a:cubicBezTo>
                    <a:pt x="14" y="14"/>
                    <a:pt x="18" y="18"/>
                    <a:pt x="18" y="23"/>
                  </a:cubicBezTo>
                  <a:cubicBezTo>
                    <a:pt x="18" y="28"/>
                    <a:pt x="14" y="31"/>
                    <a:pt x="9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1543">
              <a:extLst>
                <a:ext uri="{FF2B5EF4-FFF2-40B4-BE49-F238E27FC236}">
                  <a16:creationId xmlns:a16="http://schemas.microsoft.com/office/drawing/2014/main" id="{3870CE23-1310-8C4E-A488-813A9F240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900113"/>
              <a:ext cx="14288" cy="34925"/>
            </a:xfrm>
            <a:custGeom>
              <a:avLst/>
              <a:gdLst>
                <a:gd name="T0" fmla="*/ 2 w 4"/>
                <a:gd name="T1" fmla="*/ 9 h 9"/>
                <a:gd name="T2" fmla="*/ 0 w 4"/>
                <a:gd name="T3" fmla="*/ 7 h 9"/>
                <a:gd name="T4" fmla="*/ 0 w 4"/>
                <a:gd name="T5" fmla="*/ 2 h 9"/>
                <a:gd name="T6" fmla="*/ 2 w 4"/>
                <a:gd name="T7" fmla="*/ 0 h 9"/>
                <a:gd name="T8" fmla="*/ 4 w 4"/>
                <a:gd name="T9" fmla="*/ 2 h 9"/>
                <a:gd name="T10" fmla="*/ 4 w 4"/>
                <a:gd name="T11" fmla="*/ 7 h 9"/>
                <a:gd name="T12" fmla="*/ 2 w 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9">
                  <a:moveTo>
                    <a:pt x="2" y="9"/>
                  </a:moveTo>
                  <a:cubicBezTo>
                    <a:pt x="1" y="9"/>
                    <a:pt x="0" y="8"/>
                    <a:pt x="0" y="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3" y="9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1544">
              <a:extLst>
                <a:ext uri="{FF2B5EF4-FFF2-40B4-BE49-F238E27FC236}">
                  <a16:creationId xmlns:a16="http://schemas.microsoft.com/office/drawing/2014/main" id="{DF6CE066-361F-B34B-A4D6-8207F0E1E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784225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8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8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1545">
              <a:extLst>
                <a:ext uri="{FF2B5EF4-FFF2-40B4-BE49-F238E27FC236}">
                  <a16:creationId xmlns:a16="http://schemas.microsoft.com/office/drawing/2014/main" id="{ED1F78B8-CBCF-F941-B172-1F20FC0C60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64463" y="723900"/>
              <a:ext cx="269875" cy="360363"/>
            </a:xfrm>
            <a:custGeom>
              <a:avLst/>
              <a:gdLst>
                <a:gd name="T0" fmla="*/ 70 w 72"/>
                <a:gd name="T1" fmla="*/ 96 h 96"/>
                <a:gd name="T2" fmla="*/ 2 w 72"/>
                <a:gd name="T3" fmla="*/ 96 h 96"/>
                <a:gd name="T4" fmla="*/ 0 w 72"/>
                <a:gd name="T5" fmla="*/ 94 h 96"/>
                <a:gd name="T6" fmla="*/ 0 w 72"/>
                <a:gd name="T7" fmla="*/ 2 h 96"/>
                <a:gd name="T8" fmla="*/ 2 w 72"/>
                <a:gd name="T9" fmla="*/ 0 h 96"/>
                <a:gd name="T10" fmla="*/ 46 w 72"/>
                <a:gd name="T11" fmla="*/ 0 h 96"/>
                <a:gd name="T12" fmla="*/ 47 w 72"/>
                <a:gd name="T13" fmla="*/ 1 h 96"/>
                <a:gd name="T14" fmla="*/ 71 w 72"/>
                <a:gd name="T15" fmla="*/ 25 h 96"/>
                <a:gd name="T16" fmla="*/ 72 w 72"/>
                <a:gd name="T17" fmla="*/ 26 h 96"/>
                <a:gd name="T18" fmla="*/ 72 w 72"/>
                <a:gd name="T19" fmla="*/ 94 h 96"/>
                <a:gd name="T20" fmla="*/ 70 w 72"/>
                <a:gd name="T21" fmla="*/ 96 h 96"/>
                <a:gd name="T22" fmla="*/ 4 w 72"/>
                <a:gd name="T23" fmla="*/ 92 h 96"/>
                <a:gd name="T24" fmla="*/ 68 w 72"/>
                <a:gd name="T25" fmla="*/ 92 h 96"/>
                <a:gd name="T26" fmla="*/ 68 w 72"/>
                <a:gd name="T27" fmla="*/ 27 h 96"/>
                <a:gd name="T28" fmla="*/ 45 w 72"/>
                <a:gd name="T29" fmla="*/ 4 h 96"/>
                <a:gd name="T30" fmla="*/ 4 w 72"/>
                <a:gd name="T31" fmla="*/ 4 h 96"/>
                <a:gd name="T32" fmla="*/ 4 w 72"/>
                <a:gd name="T33" fmla="*/ 9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96">
                  <a:moveTo>
                    <a:pt x="70" y="96"/>
                  </a:moveTo>
                  <a:cubicBezTo>
                    <a:pt x="2" y="96"/>
                    <a:pt x="2" y="96"/>
                    <a:pt x="2" y="96"/>
                  </a:cubicBezTo>
                  <a:cubicBezTo>
                    <a:pt x="1" y="96"/>
                    <a:pt x="0" y="95"/>
                    <a:pt x="0" y="9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7" y="0"/>
                    <a:pt x="47" y="1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2" y="25"/>
                    <a:pt x="72" y="25"/>
                    <a:pt x="72" y="26"/>
                  </a:cubicBezTo>
                  <a:cubicBezTo>
                    <a:pt x="72" y="94"/>
                    <a:pt x="72" y="94"/>
                    <a:pt x="72" y="94"/>
                  </a:cubicBezTo>
                  <a:cubicBezTo>
                    <a:pt x="72" y="95"/>
                    <a:pt x="71" y="96"/>
                    <a:pt x="70" y="96"/>
                  </a:cubicBezTo>
                  <a:close/>
                  <a:moveTo>
                    <a:pt x="4" y="92"/>
                  </a:moveTo>
                  <a:cubicBezTo>
                    <a:pt x="68" y="92"/>
                    <a:pt x="68" y="92"/>
                    <a:pt x="68" y="92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1546">
              <a:extLst>
                <a:ext uri="{FF2B5EF4-FFF2-40B4-BE49-F238E27FC236}">
                  <a16:creationId xmlns:a16="http://schemas.microsoft.com/office/drawing/2014/main" id="{398DAD96-9058-FD4A-9C6F-BC2A11ABD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9563" y="723900"/>
              <a:ext cx="104775" cy="104775"/>
            </a:xfrm>
            <a:custGeom>
              <a:avLst/>
              <a:gdLst>
                <a:gd name="T0" fmla="*/ 26 w 28"/>
                <a:gd name="T1" fmla="*/ 28 h 28"/>
                <a:gd name="T2" fmla="*/ 2 w 28"/>
                <a:gd name="T3" fmla="*/ 28 h 28"/>
                <a:gd name="T4" fmla="*/ 0 w 28"/>
                <a:gd name="T5" fmla="*/ 26 h 28"/>
                <a:gd name="T6" fmla="*/ 0 w 28"/>
                <a:gd name="T7" fmla="*/ 2 h 28"/>
                <a:gd name="T8" fmla="*/ 2 w 28"/>
                <a:gd name="T9" fmla="*/ 0 h 28"/>
                <a:gd name="T10" fmla="*/ 4 w 28"/>
                <a:gd name="T11" fmla="*/ 2 h 28"/>
                <a:gd name="T12" fmla="*/ 4 w 28"/>
                <a:gd name="T13" fmla="*/ 24 h 28"/>
                <a:gd name="T14" fmla="*/ 26 w 28"/>
                <a:gd name="T15" fmla="*/ 24 h 28"/>
                <a:gd name="T16" fmla="*/ 28 w 28"/>
                <a:gd name="T17" fmla="*/ 26 h 28"/>
                <a:gd name="T18" fmla="*/ 26 w 28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26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8" y="25"/>
                    <a:pt x="28" y="26"/>
                  </a:cubicBezTo>
                  <a:cubicBezTo>
                    <a:pt x="28" y="27"/>
                    <a:pt x="27" y="28"/>
                    <a:pt x="2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1547">
              <a:extLst>
                <a:ext uri="{FF2B5EF4-FFF2-40B4-BE49-F238E27FC236}">
                  <a16:creationId xmlns:a16="http://schemas.microsoft.com/office/drawing/2014/main" id="{81275A0E-D9FC-7A4D-BEBC-9AC43E133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965200"/>
              <a:ext cx="180975" cy="14288"/>
            </a:xfrm>
            <a:custGeom>
              <a:avLst/>
              <a:gdLst>
                <a:gd name="T0" fmla="*/ 46 w 48"/>
                <a:gd name="T1" fmla="*/ 4 h 4"/>
                <a:gd name="T2" fmla="*/ 2 w 48"/>
                <a:gd name="T3" fmla="*/ 4 h 4"/>
                <a:gd name="T4" fmla="*/ 0 w 48"/>
                <a:gd name="T5" fmla="*/ 2 h 4"/>
                <a:gd name="T6" fmla="*/ 2 w 48"/>
                <a:gd name="T7" fmla="*/ 0 h 4"/>
                <a:gd name="T8" fmla="*/ 46 w 48"/>
                <a:gd name="T9" fmla="*/ 0 h 4"/>
                <a:gd name="T10" fmla="*/ 48 w 48"/>
                <a:gd name="T11" fmla="*/ 2 h 4"/>
                <a:gd name="T12" fmla="*/ 46 w 4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">
                  <a:moveTo>
                    <a:pt x="4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3"/>
                    <a:pt x="47" y="4"/>
                    <a:pt x="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1548">
              <a:extLst>
                <a:ext uri="{FF2B5EF4-FFF2-40B4-BE49-F238E27FC236}">
                  <a16:creationId xmlns:a16="http://schemas.microsoft.com/office/drawing/2014/main" id="{00924BC3-8374-ED4B-B4CA-265D4014D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9400" y="935038"/>
              <a:ext cx="90488" cy="14288"/>
            </a:xfrm>
            <a:custGeom>
              <a:avLst/>
              <a:gdLst>
                <a:gd name="T0" fmla="*/ 22 w 24"/>
                <a:gd name="T1" fmla="*/ 4 h 4"/>
                <a:gd name="T2" fmla="*/ 2 w 24"/>
                <a:gd name="T3" fmla="*/ 4 h 4"/>
                <a:gd name="T4" fmla="*/ 0 w 24"/>
                <a:gd name="T5" fmla="*/ 2 h 4"/>
                <a:gd name="T6" fmla="*/ 2 w 24"/>
                <a:gd name="T7" fmla="*/ 0 h 4"/>
                <a:gd name="T8" fmla="*/ 22 w 24"/>
                <a:gd name="T9" fmla="*/ 0 h 4"/>
                <a:gd name="T10" fmla="*/ 24 w 24"/>
                <a:gd name="T11" fmla="*/ 2 h 4"/>
                <a:gd name="T12" fmla="*/ 22 w 2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4" y="1"/>
                    <a:pt x="24" y="2"/>
                  </a:cubicBezTo>
                  <a:cubicBezTo>
                    <a:pt x="24" y="3"/>
                    <a:pt x="23" y="4"/>
                    <a:pt x="2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1550">
              <a:extLst>
                <a:ext uri="{FF2B5EF4-FFF2-40B4-BE49-F238E27FC236}">
                  <a16:creationId xmlns:a16="http://schemas.microsoft.com/office/drawing/2014/main" id="{5D0360F5-4F3B-F34F-8602-6E030577A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9563" y="904875"/>
              <a:ext cx="60325" cy="14288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1551">
              <a:extLst>
                <a:ext uri="{FF2B5EF4-FFF2-40B4-BE49-F238E27FC236}">
                  <a16:creationId xmlns:a16="http://schemas.microsoft.com/office/drawing/2014/main" id="{4F36EFBE-ECE8-A34E-89E7-0AF504D17F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9563" y="874713"/>
              <a:ext cx="60325" cy="14288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1552">
              <a:extLst>
                <a:ext uri="{FF2B5EF4-FFF2-40B4-BE49-F238E27FC236}">
                  <a16:creationId xmlns:a16="http://schemas.microsoft.com/office/drawing/2014/main" id="{FFB7CECD-7209-5F47-898D-88C991D95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993775"/>
              <a:ext cx="180975" cy="15875"/>
            </a:xfrm>
            <a:custGeom>
              <a:avLst/>
              <a:gdLst>
                <a:gd name="T0" fmla="*/ 46 w 48"/>
                <a:gd name="T1" fmla="*/ 4 h 4"/>
                <a:gd name="T2" fmla="*/ 2 w 48"/>
                <a:gd name="T3" fmla="*/ 4 h 4"/>
                <a:gd name="T4" fmla="*/ 0 w 48"/>
                <a:gd name="T5" fmla="*/ 2 h 4"/>
                <a:gd name="T6" fmla="*/ 2 w 48"/>
                <a:gd name="T7" fmla="*/ 0 h 4"/>
                <a:gd name="T8" fmla="*/ 46 w 48"/>
                <a:gd name="T9" fmla="*/ 0 h 4"/>
                <a:gd name="T10" fmla="*/ 48 w 48"/>
                <a:gd name="T11" fmla="*/ 2 h 4"/>
                <a:gd name="T12" fmla="*/ 46 w 4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">
                  <a:moveTo>
                    <a:pt x="4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3"/>
                    <a:pt x="47" y="4"/>
                    <a:pt x="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1553">
              <a:extLst>
                <a:ext uri="{FF2B5EF4-FFF2-40B4-BE49-F238E27FC236}">
                  <a16:creationId xmlns:a16="http://schemas.microsoft.com/office/drawing/2014/main" id="{AAD7271B-F8DA-F544-A9DA-F87F37E5F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1023938"/>
              <a:ext cx="180975" cy="15875"/>
            </a:xfrm>
            <a:custGeom>
              <a:avLst/>
              <a:gdLst>
                <a:gd name="T0" fmla="*/ 46 w 48"/>
                <a:gd name="T1" fmla="*/ 4 h 4"/>
                <a:gd name="T2" fmla="*/ 2 w 48"/>
                <a:gd name="T3" fmla="*/ 4 h 4"/>
                <a:gd name="T4" fmla="*/ 0 w 48"/>
                <a:gd name="T5" fmla="*/ 2 h 4"/>
                <a:gd name="T6" fmla="*/ 2 w 48"/>
                <a:gd name="T7" fmla="*/ 0 h 4"/>
                <a:gd name="T8" fmla="*/ 46 w 48"/>
                <a:gd name="T9" fmla="*/ 0 h 4"/>
                <a:gd name="T10" fmla="*/ 48 w 48"/>
                <a:gd name="T11" fmla="*/ 2 h 4"/>
                <a:gd name="T12" fmla="*/ 46 w 4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">
                  <a:moveTo>
                    <a:pt x="4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3"/>
                    <a:pt x="47" y="4"/>
                    <a:pt x="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5881682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13F198-C41A-5443-9494-244844FDC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Geographic Insights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29272D31-448D-1C4B-B5F7-2BCC705F869D}"/>
              </a:ext>
            </a:extLst>
          </p:cNvPr>
          <p:cNvGrpSpPr/>
          <p:nvPr/>
        </p:nvGrpSpPr>
        <p:grpSpPr>
          <a:xfrm>
            <a:off x="8451610" y="2101331"/>
            <a:ext cx="3115624" cy="889000"/>
            <a:chOff x="4202633" y="1877895"/>
            <a:chExt cx="3452982" cy="889000"/>
          </a:xfrm>
        </p:grpSpPr>
        <p:sp>
          <p:nvSpPr>
            <p:cNvPr id="120" name="Rounded Rectangle 119">
              <a:extLst>
                <a:ext uri="{FF2B5EF4-FFF2-40B4-BE49-F238E27FC236}">
                  <a16:creationId xmlns:a16="http://schemas.microsoft.com/office/drawing/2014/main" id="{72677B58-8291-894B-9CD6-3D5B5D2DCB1A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E1133F85-20C9-BF47-96B0-25AF97E887EB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806B080B-4E25-DF4C-BD51-DB3CB29CE981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24" name="Freeform 26">
                <a:extLst>
                  <a:ext uri="{FF2B5EF4-FFF2-40B4-BE49-F238E27FC236}">
                    <a16:creationId xmlns:a16="http://schemas.microsoft.com/office/drawing/2014/main" id="{637780C1-18DE-674E-9B98-1714A9DA2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1F62E19B-EAB8-FD45-AA04-8BCB959666A4}"/>
                </a:ext>
              </a:extLst>
            </p:cNvPr>
            <p:cNvSpPr/>
            <p:nvPr/>
          </p:nvSpPr>
          <p:spPr>
            <a:xfrm>
              <a:off x="4656173" y="1945391"/>
              <a:ext cx="2464235" cy="73866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The United States leads both as an acquirer and target nation, accounting for the highest volume of M&amp;A activity.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B473D06C-206C-CD4F-B324-942043E9E097}"/>
              </a:ext>
            </a:extLst>
          </p:cNvPr>
          <p:cNvGrpSpPr/>
          <p:nvPr/>
        </p:nvGrpSpPr>
        <p:grpSpPr>
          <a:xfrm>
            <a:off x="8451610" y="3220713"/>
            <a:ext cx="3115624" cy="889000"/>
            <a:chOff x="4202633" y="1877895"/>
            <a:chExt cx="3452982" cy="889000"/>
          </a:xfrm>
        </p:grpSpPr>
        <p:sp>
          <p:nvSpPr>
            <p:cNvPr id="126" name="Rounded Rectangle 125">
              <a:extLst>
                <a:ext uri="{FF2B5EF4-FFF2-40B4-BE49-F238E27FC236}">
                  <a16:creationId xmlns:a16="http://schemas.microsoft.com/office/drawing/2014/main" id="{88939BA9-BD28-C445-B589-1D8010079C07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5D918CFF-0A73-C14A-A286-A3A9BDE0ED43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C461FA4A-8C9B-EE44-9A0B-8473516A93FA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0" name="Freeform 26">
                <a:extLst>
                  <a:ext uri="{FF2B5EF4-FFF2-40B4-BE49-F238E27FC236}">
                    <a16:creationId xmlns:a16="http://schemas.microsoft.com/office/drawing/2014/main" id="{86B07A13-8CDC-544F-8E06-CCDE5C235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38434E7F-A847-3148-8ADB-A313A8306D43}"/>
                </a:ext>
              </a:extLst>
            </p:cNvPr>
            <p:cNvSpPr/>
            <p:nvPr/>
          </p:nvSpPr>
          <p:spPr>
            <a:xfrm>
              <a:off x="4656173" y="2021880"/>
              <a:ext cx="2464235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China (Mainland), Japan, and the United Kingdom follow as the next most active acquirers.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8A43B289-89C2-DD40-A288-7D48A7B909B3}"/>
              </a:ext>
            </a:extLst>
          </p:cNvPr>
          <p:cNvGrpSpPr/>
          <p:nvPr/>
        </p:nvGrpSpPr>
        <p:grpSpPr>
          <a:xfrm>
            <a:off x="8451610" y="4292541"/>
            <a:ext cx="3115624" cy="889000"/>
            <a:chOff x="4202633" y="1877895"/>
            <a:chExt cx="3452982" cy="889000"/>
          </a:xfrm>
        </p:grpSpPr>
        <p:sp>
          <p:nvSpPr>
            <p:cNvPr id="132" name="Rounded Rectangle 131">
              <a:extLst>
                <a:ext uri="{FF2B5EF4-FFF2-40B4-BE49-F238E27FC236}">
                  <a16:creationId xmlns:a16="http://schemas.microsoft.com/office/drawing/2014/main" id="{6BEDBF89-B905-8C46-8463-19042FC9D1F3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6189C26C-8BEC-6847-866B-CCE55EBE7282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E74165CA-2CDC-C84B-B757-F17D3D6BC3A2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6" name="Freeform 26">
                <a:extLst>
                  <a:ext uri="{FF2B5EF4-FFF2-40B4-BE49-F238E27FC236}">
                    <a16:creationId xmlns:a16="http://schemas.microsoft.com/office/drawing/2014/main" id="{57BDF903-7EFB-EF4C-8E29-CC23705664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14F67042-8ADB-5549-A019-95B7BA2E63F8}"/>
                </a:ext>
              </a:extLst>
            </p:cNvPr>
            <p:cNvSpPr/>
            <p:nvPr/>
          </p:nvSpPr>
          <p:spPr>
            <a:xfrm>
              <a:off x="4656172" y="1942250"/>
              <a:ext cx="2811435" cy="73866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As target nations, China, the UK, Japan, and Canada also feature prominently, indicating strong bilateral deal flows among major economies.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0890E6AF-5533-3C66-9D51-95EF637460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4" y="1295400"/>
            <a:ext cx="8425350" cy="474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5478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A7CFE8-0A26-4EFF-A6FB-92ECE7A737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FB381B-9359-8CB4-D415-2E4FDCB05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dustry Insights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9F8CAC7A-8E56-6569-55FC-9C0B0977CD88}"/>
              </a:ext>
            </a:extLst>
          </p:cNvPr>
          <p:cNvGrpSpPr/>
          <p:nvPr/>
        </p:nvGrpSpPr>
        <p:grpSpPr>
          <a:xfrm>
            <a:off x="8449238" y="2243262"/>
            <a:ext cx="3284671" cy="1159266"/>
            <a:chOff x="4202632" y="1877895"/>
            <a:chExt cx="3452983" cy="889000"/>
          </a:xfrm>
        </p:grpSpPr>
        <p:sp>
          <p:nvSpPr>
            <p:cNvPr id="120" name="Rounded Rectangle 119">
              <a:extLst>
                <a:ext uri="{FF2B5EF4-FFF2-40B4-BE49-F238E27FC236}">
                  <a16:creationId xmlns:a16="http://schemas.microsoft.com/office/drawing/2014/main" id="{DCC87694-03C5-4627-2866-7E4CD815FB3D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A36067A8-5DFF-A767-8DF0-F6FC5794FEF3}"/>
                </a:ext>
              </a:extLst>
            </p:cNvPr>
            <p:cNvGrpSpPr/>
            <p:nvPr/>
          </p:nvGrpSpPr>
          <p:grpSpPr>
            <a:xfrm>
              <a:off x="4202632" y="2141606"/>
              <a:ext cx="361578" cy="361578"/>
              <a:chOff x="533399" y="3133272"/>
              <a:chExt cx="361950" cy="361950"/>
            </a:xfrm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5AB5E9AD-539A-4033-1DD5-130397357E67}"/>
                  </a:ext>
                </a:extLst>
              </p:cNvPr>
              <p:cNvSpPr/>
              <p:nvPr/>
            </p:nvSpPr>
            <p:spPr>
              <a:xfrm>
                <a:off x="533399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24" name="Freeform 26">
                <a:extLst>
                  <a:ext uri="{FF2B5EF4-FFF2-40B4-BE49-F238E27FC236}">
                    <a16:creationId xmlns:a16="http://schemas.microsoft.com/office/drawing/2014/main" id="{CE17391B-EB0D-BE08-5B0E-D5EAE66060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4B2EC639-AF13-B958-8185-3EB50CF796ED}"/>
                </a:ext>
              </a:extLst>
            </p:cNvPr>
            <p:cNvSpPr/>
            <p:nvPr/>
          </p:nvSpPr>
          <p:spPr>
            <a:xfrm>
              <a:off x="4656173" y="1889881"/>
              <a:ext cx="2464235" cy="84968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The most active sectors for acquisition include: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TMT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E&amp;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CB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" panose="020B0502040204020203" pitchFamily="34" charset="0"/>
                </a:rPr>
                <a:t>FSI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233ACC86-F6AE-989A-2868-F313A13033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0" y="1466526"/>
            <a:ext cx="8445096" cy="487828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6663EC4-7FE9-A88C-11FA-8663A3103A33}"/>
              </a:ext>
            </a:extLst>
          </p:cNvPr>
          <p:cNvGrpSpPr/>
          <p:nvPr/>
        </p:nvGrpSpPr>
        <p:grpSpPr>
          <a:xfrm>
            <a:off x="8451609" y="3561784"/>
            <a:ext cx="3284672" cy="889000"/>
            <a:chOff x="4202633" y="1978513"/>
            <a:chExt cx="3452983" cy="889000"/>
          </a:xfrm>
        </p:grpSpPr>
        <p:sp>
          <p:nvSpPr>
            <p:cNvPr id="6" name="Rounded Rectangle 125">
              <a:extLst>
                <a:ext uri="{FF2B5EF4-FFF2-40B4-BE49-F238E27FC236}">
                  <a16:creationId xmlns:a16="http://schemas.microsoft.com/office/drawing/2014/main" id="{70F74499-171B-99A1-8EE0-D17C2AEE2D12}"/>
                </a:ext>
              </a:extLst>
            </p:cNvPr>
            <p:cNvSpPr/>
            <p:nvPr/>
          </p:nvSpPr>
          <p:spPr>
            <a:xfrm>
              <a:off x="4383423" y="1978513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472062F-C17B-F61E-D511-1C809479BEB5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F42DB101-E75E-F7C1-B968-928DD6266DD7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0" name="Freeform 26">
                <a:extLst>
                  <a:ext uri="{FF2B5EF4-FFF2-40B4-BE49-F238E27FC236}">
                    <a16:creationId xmlns:a16="http://schemas.microsoft.com/office/drawing/2014/main" id="{4409B454-6E1D-5E5E-0123-CC424631EC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3B83918-0098-A2B2-5BF4-3164964229E7}"/>
                </a:ext>
              </a:extLst>
            </p:cNvPr>
            <p:cNvSpPr/>
            <p:nvPr/>
          </p:nvSpPr>
          <p:spPr>
            <a:xfrm>
              <a:off x="4656173" y="2206546"/>
              <a:ext cx="2464235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6EA40DDD-6070-193C-6045-F7565D482683}"/>
              </a:ext>
            </a:extLst>
          </p:cNvPr>
          <p:cNvSpPr txBox="1"/>
          <p:nvPr/>
        </p:nvSpPr>
        <p:spPr>
          <a:xfrm>
            <a:off x="8756718" y="3558984"/>
            <a:ext cx="297719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otal Deal Value increased by 14.67%, indicating stronger capital deployment and a possible shift toward higher-value transactions.</a:t>
            </a:r>
            <a:endParaRPr lang="en-US" sz="12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FCFD891-D98A-BDD0-7E5E-CF7541D63225}"/>
              </a:ext>
            </a:extLst>
          </p:cNvPr>
          <p:cNvGrpSpPr/>
          <p:nvPr/>
        </p:nvGrpSpPr>
        <p:grpSpPr>
          <a:xfrm>
            <a:off x="8451609" y="4565640"/>
            <a:ext cx="3284672" cy="1124946"/>
            <a:chOff x="8451609" y="4565640"/>
            <a:chExt cx="3284672" cy="1124946"/>
          </a:xfrm>
        </p:grpSpPr>
        <p:sp>
          <p:nvSpPr>
            <p:cNvPr id="21" name="Rounded Rectangle 125">
              <a:extLst>
                <a:ext uri="{FF2B5EF4-FFF2-40B4-BE49-F238E27FC236}">
                  <a16:creationId xmlns:a16="http://schemas.microsoft.com/office/drawing/2014/main" id="{B9E45C10-E390-4CB8-38AE-1AD759FFFC8C}"/>
                </a:ext>
              </a:extLst>
            </p:cNvPr>
            <p:cNvSpPr/>
            <p:nvPr/>
          </p:nvSpPr>
          <p:spPr>
            <a:xfrm>
              <a:off x="8623587" y="4565640"/>
              <a:ext cx="3112694" cy="1124946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11EDF0E-BD33-167F-C174-3750449D4C7B}"/>
                </a:ext>
              </a:extLst>
            </p:cNvPr>
            <p:cNvGrpSpPr/>
            <p:nvPr/>
          </p:nvGrpSpPr>
          <p:grpSpPr>
            <a:xfrm>
              <a:off x="8451609" y="4861034"/>
              <a:ext cx="343953" cy="457543"/>
              <a:chOff x="533400" y="3203689"/>
              <a:chExt cx="361950" cy="36195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D2D6EBF0-528A-0BAD-235E-A62FDA65E479}"/>
                  </a:ext>
                </a:extLst>
              </p:cNvPr>
              <p:cNvSpPr/>
              <p:nvPr/>
            </p:nvSpPr>
            <p:spPr>
              <a:xfrm>
                <a:off x="533400" y="3203689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25" name="Freeform 26">
                <a:extLst>
                  <a:ext uri="{FF2B5EF4-FFF2-40B4-BE49-F238E27FC236}">
                    <a16:creationId xmlns:a16="http://schemas.microsoft.com/office/drawing/2014/main" id="{FE8E4D2B-8895-DFA4-09C8-D63C59409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468" y="3290705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450E786-7CCB-E361-9304-31B64F857246}"/>
                </a:ext>
              </a:extLst>
            </p:cNvPr>
            <p:cNvSpPr/>
            <p:nvPr/>
          </p:nvSpPr>
          <p:spPr>
            <a:xfrm>
              <a:off x="8883042" y="4854194"/>
              <a:ext cx="2344119" cy="2336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113B9A62-20CB-542F-3137-41BE3C429E3F}"/>
              </a:ext>
            </a:extLst>
          </p:cNvPr>
          <p:cNvSpPr txBox="1"/>
          <p:nvPr/>
        </p:nvSpPr>
        <p:spPr>
          <a:xfrm>
            <a:off x="8701210" y="4628452"/>
            <a:ext cx="313659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Despite this growth in value, the total number of deals declined by 12.47%, suggesting a more selective M&amp;A environment where fewer, but larger or more strategic, deals are being executed.</a:t>
            </a:r>
            <a:endParaRPr lang="en-US" sz="12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90559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5D1CBE-2480-E089-15A0-2CFF1AF428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925881-140F-EBB1-37B3-198D0B450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al Size Distribution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80956464-EF0E-38E8-D816-3375F69AD1AC}"/>
              </a:ext>
            </a:extLst>
          </p:cNvPr>
          <p:cNvGrpSpPr/>
          <p:nvPr/>
        </p:nvGrpSpPr>
        <p:grpSpPr>
          <a:xfrm>
            <a:off x="8446866" y="2511615"/>
            <a:ext cx="3284671" cy="830997"/>
            <a:chOff x="4202632" y="1877895"/>
            <a:chExt cx="3452983" cy="889000"/>
          </a:xfrm>
        </p:grpSpPr>
        <p:sp>
          <p:nvSpPr>
            <p:cNvPr id="120" name="Rounded Rectangle 119">
              <a:extLst>
                <a:ext uri="{FF2B5EF4-FFF2-40B4-BE49-F238E27FC236}">
                  <a16:creationId xmlns:a16="http://schemas.microsoft.com/office/drawing/2014/main" id="{BE41582C-AB73-0D96-A9FE-28338CADA82A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85317C92-08D3-375B-8F0C-C9FD4F489F32}"/>
                </a:ext>
              </a:extLst>
            </p:cNvPr>
            <p:cNvGrpSpPr/>
            <p:nvPr/>
          </p:nvGrpSpPr>
          <p:grpSpPr>
            <a:xfrm>
              <a:off x="4202632" y="2141606"/>
              <a:ext cx="361578" cy="361578"/>
              <a:chOff x="533399" y="3133272"/>
              <a:chExt cx="361950" cy="361950"/>
            </a:xfrm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9676BF8A-24AD-B516-424B-3BC6BF9A130A}"/>
                  </a:ext>
                </a:extLst>
              </p:cNvPr>
              <p:cNvSpPr/>
              <p:nvPr/>
            </p:nvSpPr>
            <p:spPr>
              <a:xfrm>
                <a:off x="533399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24" name="Freeform 26">
                <a:extLst>
                  <a:ext uri="{FF2B5EF4-FFF2-40B4-BE49-F238E27FC236}">
                    <a16:creationId xmlns:a16="http://schemas.microsoft.com/office/drawing/2014/main" id="{EE290217-4427-4172-0075-FBA4B2F1DE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6F8DDB53-E994-E5F2-76D8-974F1C396BF7}"/>
                </a:ext>
              </a:extLst>
            </p:cNvPr>
            <p:cNvSpPr/>
            <p:nvPr/>
          </p:nvSpPr>
          <p:spPr>
            <a:xfrm>
              <a:off x="4656173" y="2243916"/>
              <a:ext cx="2464235" cy="14161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E0C720C4-1AB5-C7E8-8A68-52BBD766E9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0" y="1466526"/>
            <a:ext cx="8445096" cy="487828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0792873-C778-2DA6-B941-3A648C60B1FF}"/>
              </a:ext>
            </a:extLst>
          </p:cNvPr>
          <p:cNvGrpSpPr/>
          <p:nvPr/>
        </p:nvGrpSpPr>
        <p:grpSpPr>
          <a:xfrm>
            <a:off x="8451609" y="3561784"/>
            <a:ext cx="3284672" cy="889000"/>
            <a:chOff x="4202633" y="1978513"/>
            <a:chExt cx="3452983" cy="889000"/>
          </a:xfrm>
        </p:grpSpPr>
        <p:sp>
          <p:nvSpPr>
            <p:cNvPr id="6" name="Rounded Rectangle 125">
              <a:extLst>
                <a:ext uri="{FF2B5EF4-FFF2-40B4-BE49-F238E27FC236}">
                  <a16:creationId xmlns:a16="http://schemas.microsoft.com/office/drawing/2014/main" id="{740ECDB3-D2FF-D7E9-9D70-B62982D004EB}"/>
                </a:ext>
              </a:extLst>
            </p:cNvPr>
            <p:cNvSpPr/>
            <p:nvPr/>
          </p:nvSpPr>
          <p:spPr>
            <a:xfrm>
              <a:off x="4383423" y="1978513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EE18E9FC-EE8B-C349-BD81-79DAD4FF0E4E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5C044C14-25EB-AA67-5E0C-44596BDB7094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0" name="Freeform 26">
                <a:extLst>
                  <a:ext uri="{FF2B5EF4-FFF2-40B4-BE49-F238E27FC236}">
                    <a16:creationId xmlns:a16="http://schemas.microsoft.com/office/drawing/2014/main" id="{CBB1C33F-6DDD-819C-D0AD-1BDBF56769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9CDEF48-46B5-03F2-5C52-EE3C0A5F7FE5}"/>
                </a:ext>
              </a:extLst>
            </p:cNvPr>
            <p:cNvSpPr/>
            <p:nvPr/>
          </p:nvSpPr>
          <p:spPr>
            <a:xfrm>
              <a:off x="4656173" y="2206546"/>
              <a:ext cx="2464235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255ACEC2-D03F-FCA3-CC26-DF020C6B66EE}"/>
              </a:ext>
            </a:extLst>
          </p:cNvPr>
          <p:cNvSpPr txBox="1"/>
          <p:nvPr/>
        </p:nvSpPr>
        <p:spPr>
          <a:xfrm>
            <a:off x="8756718" y="3558984"/>
            <a:ext cx="297719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Only a small fraction of deals were classified as mid-sized or large, with just 52 mega-deals (&gt; $10 billion) recorded across the two years..</a:t>
            </a:r>
            <a:endParaRPr lang="en-US" sz="12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AF801DC-46B7-4664-25AB-43A9E359E9D5}"/>
              </a:ext>
            </a:extLst>
          </p:cNvPr>
          <p:cNvGrpSpPr/>
          <p:nvPr/>
        </p:nvGrpSpPr>
        <p:grpSpPr>
          <a:xfrm>
            <a:off x="8451609" y="4565640"/>
            <a:ext cx="3284672" cy="1124946"/>
            <a:chOff x="8451609" y="4565640"/>
            <a:chExt cx="3284672" cy="1124946"/>
          </a:xfrm>
        </p:grpSpPr>
        <p:sp>
          <p:nvSpPr>
            <p:cNvPr id="21" name="Rounded Rectangle 125">
              <a:extLst>
                <a:ext uri="{FF2B5EF4-FFF2-40B4-BE49-F238E27FC236}">
                  <a16:creationId xmlns:a16="http://schemas.microsoft.com/office/drawing/2014/main" id="{5B0395E9-AC73-6C59-7B25-FFCCD76353C3}"/>
                </a:ext>
              </a:extLst>
            </p:cNvPr>
            <p:cNvSpPr/>
            <p:nvPr/>
          </p:nvSpPr>
          <p:spPr>
            <a:xfrm>
              <a:off x="8623587" y="4565640"/>
              <a:ext cx="3112694" cy="1124946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6218131-2C9A-55D6-C74B-B94209FA674C}"/>
                </a:ext>
              </a:extLst>
            </p:cNvPr>
            <p:cNvGrpSpPr/>
            <p:nvPr/>
          </p:nvGrpSpPr>
          <p:grpSpPr>
            <a:xfrm>
              <a:off x="8451609" y="4861034"/>
              <a:ext cx="343953" cy="457543"/>
              <a:chOff x="533400" y="3203689"/>
              <a:chExt cx="361950" cy="36195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4DEC404-0BBB-2EAA-DA6D-D5312EBADBB6}"/>
                  </a:ext>
                </a:extLst>
              </p:cNvPr>
              <p:cNvSpPr/>
              <p:nvPr/>
            </p:nvSpPr>
            <p:spPr>
              <a:xfrm>
                <a:off x="533400" y="3203689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25" name="Freeform 26">
                <a:extLst>
                  <a:ext uri="{FF2B5EF4-FFF2-40B4-BE49-F238E27FC236}">
                    <a16:creationId xmlns:a16="http://schemas.microsoft.com/office/drawing/2014/main" id="{09DEA712-232D-4511-99B0-08AC73D3BC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468" y="3290705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3629192-206A-DE4B-8861-ACE4EB259CB6}"/>
                </a:ext>
              </a:extLst>
            </p:cNvPr>
            <p:cNvSpPr/>
            <p:nvPr/>
          </p:nvSpPr>
          <p:spPr>
            <a:xfrm>
              <a:off x="8883042" y="4854194"/>
              <a:ext cx="2344119" cy="2336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6347701E-55F4-AF93-1945-D002D625277D}"/>
              </a:ext>
            </a:extLst>
          </p:cNvPr>
          <p:cNvSpPr txBox="1"/>
          <p:nvPr/>
        </p:nvSpPr>
        <p:spPr>
          <a:xfrm>
            <a:off x="8701210" y="4628452"/>
            <a:ext cx="313659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his indicates that the M&amp;A market remains fragmented, with a high volume of strategic or niche acquisitions rather than blockbuster transactions..</a:t>
            </a:r>
            <a:endParaRPr lang="en-US" sz="12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F0A3D2-6DCD-CAB9-EBD8-4E601070B441}"/>
              </a:ext>
            </a:extLst>
          </p:cNvPr>
          <p:cNvSpPr txBox="1"/>
          <p:nvPr/>
        </p:nvSpPr>
        <p:spPr>
          <a:xfrm>
            <a:off x="8798217" y="2645090"/>
            <a:ext cx="29259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 majority of deals were either small (&lt;$250 million) or had undisclosed values.</a:t>
            </a:r>
            <a:endParaRPr lang="en-US" sz="12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5373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7B3283-1814-5F35-32DA-5693AADEA7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B31C5-392D-5142-5B06-A7A5ECAB7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 Deal Volume Trends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9E1631B3-5E6E-1B7B-BBD8-565A3A1A1644}"/>
              </a:ext>
            </a:extLst>
          </p:cNvPr>
          <p:cNvGrpSpPr/>
          <p:nvPr/>
        </p:nvGrpSpPr>
        <p:grpSpPr>
          <a:xfrm>
            <a:off x="8446866" y="2511615"/>
            <a:ext cx="3284671" cy="830997"/>
            <a:chOff x="4202632" y="1877895"/>
            <a:chExt cx="3452983" cy="889000"/>
          </a:xfrm>
        </p:grpSpPr>
        <p:sp>
          <p:nvSpPr>
            <p:cNvPr id="120" name="Rounded Rectangle 119">
              <a:extLst>
                <a:ext uri="{FF2B5EF4-FFF2-40B4-BE49-F238E27FC236}">
                  <a16:creationId xmlns:a16="http://schemas.microsoft.com/office/drawing/2014/main" id="{A19F9A26-FDA0-A1C4-5C07-5E905C5F2BC6}"/>
                </a:ext>
              </a:extLst>
            </p:cNvPr>
            <p:cNvSpPr/>
            <p:nvPr/>
          </p:nvSpPr>
          <p:spPr>
            <a:xfrm>
              <a:off x="4383422" y="1877895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6A641F15-232C-FEC1-AF04-C76711DCC6D3}"/>
                </a:ext>
              </a:extLst>
            </p:cNvPr>
            <p:cNvGrpSpPr/>
            <p:nvPr/>
          </p:nvGrpSpPr>
          <p:grpSpPr>
            <a:xfrm>
              <a:off x="4202632" y="2141606"/>
              <a:ext cx="361578" cy="361578"/>
              <a:chOff x="533399" y="3133272"/>
              <a:chExt cx="361950" cy="361950"/>
            </a:xfrm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37562D09-91CC-63A8-FFA2-C23D7953B2B0}"/>
                  </a:ext>
                </a:extLst>
              </p:cNvPr>
              <p:cNvSpPr/>
              <p:nvPr/>
            </p:nvSpPr>
            <p:spPr>
              <a:xfrm>
                <a:off x="533399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24" name="Freeform 26">
                <a:extLst>
                  <a:ext uri="{FF2B5EF4-FFF2-40B4-BE49-F238E27FC236}">
                    <a16:creationId xmlns:a16="http://schemas.microsoft.com/office/drawing/2014/main" id="{68D69F28-7DEA-EFE1-EEFD-54480CEFE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AB173770-B252-02B5-6063-E86A6E9048E2}"/>
                </a:ext>
              </a:extLst>
            </p:cNvPr>
            <p:cNvSpPr/>
            <p:nvPr/>
          </p:nvSpPr>
          <p:spPr>
            <a:xfrm>
              <a:off x="4656173" y="2243916"/>
              <a:ext cx="2464235" cy="14161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F9EE52F7-E81F-292D-5C6E-A62EF3A6CB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0" y="1466526"/>
            <a:ext cx="8445096" cy="487828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391CBCE-7468-9C9E-3265-3A99F19FB7C7}"/>
              </a:ext>
            </a:extLst>
          </p:cNvPr>
          <p:cNvGrpSpPr/>
          <p:nvPr/>
        </p:nvGrpSpPr>
        <p:grpSpPr>
          <a:xfrm>
            <a:off x="8451609" y="3561784"/>
            <a:ext cx="3284672" cy="889000"/>
            <a:chOff x="4202633" y="1978513"/>
            <a:chExt cx="3452983" cy="889000"/>
          </a:xfrm>
        </p:grpSpPr>
        <p:sp>
          <p:nvSpPr>
            <p:cNvPr id="6" name="Rounded Rectangle 125">
              <a:extLst>
                <a:ext uri="{FF2B5EF4-FFF2-40B4-BE49-F238E27FC236}">
                  <a16:creationId xmlns:a16="http://schemas.microsoft.com/office/drawing/2014/main" id="{AB0685CF-8674-45DC-23F2-BFA34E4A8237}"/>
                </a:ext>
              </a:extLst>
            </p:cNvPr>
            <p:cNvSpPr/>
            <p:nvPr/>
          </p:nvSpPr>
          <p:spPr>
            <a:xfrm>
              <a:off x="4383423" y="1978513"/>
              <a:ext cx="3272193" cy="889000"/>
            </a:xfrm>
            <a:prstGeom prst="roundRect">
              <a:avLst>
                <a:gd name="adj" fmla="val 18519"/>
              </a:avLst>
            </a:prstGeom>
            <a:solidFill>
              <a:srgbClr val="86BC25"/>
            </a:solidFill>
            <a:ln>
              <a:noFill/>
            </a:ln>
            <a:effectLst>
              <a:outerShdw blurRad="508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0094649-3F05-4313-C5C5-69AF7FEF3AF0}"/>
                </a:ext>
              </a:extLst>
            </p:cNvPr>
            <p:cNvGrpSpPr/>
            <p:nvPr/>
          </p:nvGrpSpPr>
          <p:grpSpPr>
            <a:xfrm>
              <a:off x="4202633" y="2141606"/>
              <a:ext cx="361578" cy="361578"/>
              <a:chOff x="533400" y="3133272"/>
              <a:chExt cx="361950" cy="361950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1989A409-FF3E-BD46-AC2E-7B2638A24802}"/>
                  </a:ext>
                </a:extLst>
              </p:cNvPr>
              <p:cNvSpPr/>
              <p:nvPr/>
            </p:nvSpPr>
            <p:spPr>
              <a:xfrm>
                <a:off x="533400" y="3133272"/>
                <a:ext cx="361950" cy="3619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0" name="Freeform 26">
                <a:extLst>
                  <a:ext uri="{FF2B5EF4-FFF2-40B4-BE49-F238E27FC236}">
                    <a16:creationId xmlns:a16="http://schemas.microsoft.com/office/drawing/2014/main" id="{CC407F49-8D7B-8614-5FA4-75366AD967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79" y="3232561"/>
                <a:ext cx="142593" cy="163373"/>
              </a:xfrm>
              <a:custGeom>
                <a:avLst/>
                <a:gdLst>
                  <a:gd name="T0" fmla="*/ 83 w 84"/>
                  <a:gd name="T1" fmla="*/ 47 h 96"/>
                  <a:gd name="T2" fmla="*/ 38 w 84"/>
                  <a:gd name="T3" fmla="*/ 1 h 96"/>
                  <a:gd name="T4" fmla="*/ 37 w 84"/>
                  <a:gd name="T5" fmla="*/ 0 h 96"/>
                  <a:gd name="T6" fmla="*/ 2 w 84"/>
                  <a:gd name="T7" fmla="*/ 0 h 96"/>
                  <a:gd name="T8" fmla="*/ 0 w 84"/>
                  <a:gd name="T9" fmla="*/ 1 h 96"/>
                  <a:gd name="T10" fmla="*/ 1 w 84"/>
                  <a:gd name="T11" fmla="*/ 3 h 96"/>
                  <a:gd name="T12" fmla="*/ 45 w 84"/>
                  <a:gd name="T13" fmla="*/ 48 h 96"/>
                  <a:gd name="T14" fmla="*/ 1 w 84"/>
                  <a:gd name="T15" fmla="*/ 93 h 96"/>
                  <a:gd name="T16" fmla="*/ 0 w 84"/>
                  <a:gd name="T17" fmla="*/ 95 h 96"/>
                  <a:gd name="T18" fmla="*/ 2 w 84"/>
                  <a:gd name="T19" fmla="*/ 96 h 96"/>
                  <a:gd name="T20" fmla="*/ 37 w 84"/>
                  <a:gd name="T21" fmla="*/ 96 h 96"/>
                  <a:gd name="T22" fmla="*/ 38 w 84"/>
                  <a:gd name="T23" fmla="*/ 95 h 96"/>
                  <a:gd name="T24" fmla="*/ 83 w 84"/>
                  <a:gd name="T25" fmla="*/ 49 h 96"/>
                  <a:gd name="T26" fmla="*/ 83 w 84"/>
                  <a:gd name="T27" fmla="*/ 4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96">
                    <a:moveTo>
                      <a:pt x="83" y="47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8" y="0"/>
                      <a:pt x="37" y="0"/>
                      <a:pt x="3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0" y="93"/>
                      <a:pt x="0" y="94"/>
                      <a:pt x="0" y="95"/>
                    </a:cubicBezTo>
                    <a:cubicBezTo>
                      <a:pt x="1" y="96"/>
                      <a:pt x="1" y="96"/>
                      <a:pt x="2" y="96"/>
                    </a:cubicBezTo>
                    <a:cubicBezTo>
                      <a:pt x="37" y="96"/>
                      <a:pt x="37" y="96"/>
                      <a:pt x="37" y="96"/>
                    </a:cubicBezTo>
                    <a:cubicBezTo>
                      <a:pt x="37" y="96"/>
                      <a:pt x="38" y="96"/>
                      <a:pt x="38" y="95"/>
                    </a:cubicBezTo>
                    <a:cubicBezTo>
                      <a:pt x="83" y="49"/>
                      <a:pt x="83" y="49"/>
                      <a:pt x="83" y="49"/>
                    </a:cubicBezTo>
                    <a:cubicBezTo>
                      <a:pt x="84" y="49"/>
                      <a:pt x="84" y="47"/>
                      <a:pt x="83" y="4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EB5B01E-7039-371F-1E69-20A3DCBAEE32}"/>
                </a:ext>
              </a:extLst>
            </p:cNvPr>
            <p:cNvSpPr/>
            <p:nvPr/>
          </p:nvSpPr>
          <p:spPr>
            <a:xfrm>
              <a:off x="4656173" y="2206546"/>
              <a:ext cx="2464235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E00F8928-6E65-0236-F01D-B7E40A719DF7}"/>
              </a:ext>
            </a:extLst>
          </p:cNvPr>
          <p:cNvSpPr txBox="1"/>
          <p:nvPr/>
        </p:nvSpPr>
        <p:spPr>
          <a:xfrm>
            <a:off x="8756718" y="3558984"/>
            <a:ext cx="297719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The drop may reflect broader macroeconomic caution or sector-specific slowdowns in key markets.</a:t>
            </a:r>
            <a:endParaRPr lang="en-US" sz="12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524ACD-4302-65EE-C4FF-B2999B487191}"/>
              </a:ext>
            </a:extLst>
          </p:cNvPr>
          <p:cNvSpPr txBox="1"/>
          <p:nvPr/>
        </p:nvSpPr>
        <p:spPr>
          <a:xfrm>
            <a:off x="8798217" y="2645090"/>
            <a:ext cx="29259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M&amp;A activity declined in 2024, with 35,485 deals, down from 40,541 in 2023..</a:t>
            </a:r>
            <a:endParaRPr lang="en-US" sz="12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46562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BAA72A-3426-FC10-88A4-FF3E2CAA2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C9E24D-F2DF-3BB1-3349-1F16FD37FC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 Conclu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F5998E-4152-F331-E885-0F31E691C2C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sz="1800" dirty="0"/>
              <a:t>The M&amp;A landscape is dominated by major economies, particularly the U.S. and China, with financial services and technology sectors leading acquisition activity.</a:t>
            </a:r>
          </a:p>
          <a:p>
            <a:r>
              <a:rPr lang="en-GB" sz="1800" dirty="0"/>
              <a:t> While deal counts remain high, most transactions are small-scale or undisclosed, highlighting a shift toward targeted, strategic M&amp;A rather than high-value consolidation plays.</a:t>
            </a:r>
          </a:p>
          <a:p>
            <a:r>
              <a:rPr lang="en-GB" sz="1800" dirty="0"/>
              <a:t> The slight decline in 2024 deal volume may warrant closer observation in future periods.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8367006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CA5ED30-3AB9-3047-848B-02CD451C5B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4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Freeform 10">
            <a:extLst>
              <a:ext uri="{FF2B5EF4-FFF2-40B4-BE49-F238E27FC236}">
                <a16:creationId xmlns:a16="http://schemas.microsoft.com/office/drawing/2014/main" id="{74B775B3-4EED-B140-BD37-ED3586DDC4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33400 w 12192000"/>
              <a:gd name="connsiteY1" fmla="*/ 0 h 6858000"/>
              <a:gd name="connsiteX2" fmla="*/ 533400 w 12192000"/>
              <a:gd name="connsiteY2" fmla="*/ 5118072 h 6858000"/>
              <a:gd name="connsiteX3" fmla="*/ 1003328 w 12192000"/>
              <a:gd name="connsiteY3" fmla="*/ 5588000 h 6858000"/>
              <a:gd name="connsiteX4" fmla="*/ 5626072 w 12192000"/>
              <a:gd name="connsiteY4" fmla="*/ 5588000 h 6858000"/>
              <a:gd name="connsiteX5" fmla="*/ 6096000 w 12192000"/>
              <a:gd name="connsiteY5" fmla="*/ 5118072 h 6858000"/>
              <a:gd name="connsiteX6" fmla="*/ 6096000 w 12192000"/>
              <a:gd name="connsiteY6" fmla="*/ 0 h 6858000"/>
              <a:gd name="connsiteX7" fmla="*/ 12192000 w 12192000"/>
              <a:gd name="connsiteY7" fmla="*/ 0 h 6858000"/>
              <a:gd name="connsiteX8" fmla="*/ 12192000 w 12192000"/>
              <a:gd name="connsiteY8" fmla="*/ 6858000 h 6858000"/>
              <a:gd name="connsiteX9" fmla="*/ 0 w 12192000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33400" y="0"/>
                </a:lnTo>
                <a:lnTo>
                  <a:pt x="533400" y="5118072"/>
                </a:lnTo>
                <a:cubicBezTo>
                  <a:pt x="533400" y="5377606"/>
                  <a:pt x="743794" y="5588000"/>
                  <a:pt x="1003328" y="5588000"/>
                </a:cubicBezTo>
                <a:lnTo>
                  <a:pt x="5626072" y="5588000"/>
                </a:lnTo>
                <a:cubicBezTo>
                  <a:pt x="5885606" y="5588000"/>
                  <a:pt x="6096000" y="5377606"/>
                  <a:pt x="6096000" y="5118072"/>
                </a:cubicBezTo>
                <a:lnTo>
                  <a:pt x="60960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F7B95B97-4D6E-DC4F-A072-89BAE3F6FAEF}"/>
              </a:ext>
            </a:extLst>
          </p:cNvPr>
          <p:cNvSpPr/>
          <p:nvPr/>
        </p:nvSpPr>
        <p:spPr>
          <a:xfrm>
            <a:off x="533400" y="2"/>
            <a:ext cx="5562600" cy="5587999"/>
          </a:xfrm>
          <a:custGeom>
            <a:avLst/>
            <a:gdLst>
              <a:gd name="connsiteX0" fmla="*/ 0 w 5562600"/>
              <a:gd name="connsiteY0" fmla="*/ 0 h 5587999"/>
              <a:gd name="connsiteX1" fmla="*/ 5562600 w 5562600"/>
              <a:gd name="connsiteY1" fmla="*/ 0 h 5587999"/>
              <a:gd name="connsiteX2" fmla="*/ 5562600 w 5562600"/>
              <a:gd name="connsiteY2" fmla="*/ 5118071 h 5587999"/>
              <a:gd name="connsiteX3" fmla="*/ 5092672 w 5562600"/>
              <a:gd name="connsiteY3" fmla="*/ 5587999 h 5587999"/>
              <a:gd name="connsiteX4" fmla="*/ 469928 w 5562600"/>
              <a:gd name="connsiteY4" fmla="*/ 5587999 h 5587999"/>
              <a:gd name="connsiteX5" fmla="*/ 0 w 5562600"/>
              <a:gd name="connsiteY5" fmla="*/ 5118071 h 558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2600" h="5587999">
                <a:moveTo>
                  <a:pt x="0" y="0"/>
                </a:moveTo>
                <a:lnTo>
                  <a:pt x="5562600" y="0"/>
                </a:lnTo>
                <a:lnTo>
                  <a:pt x="5562600" y="5118071"/>
                </a:lnTo>
                <a:cubicBezTo>
                  <a:pt x="5562600" y="5377605"/>
                  <a:pt x="5352206" y="5587999"/>
                  <a:pt x="5092672" y="5587999"/>
                </a:cubicBezTo>
                <a:lnTo>
                  <a:pt x="469928" y="5587999"/>
                </a:lnTo>
                <a:cubicBezTo>
                  <a:pt x="210394" y="5587999"/>
                  <a:pt x="0" y="5377605"/>
                  <a:pt x="0" y="5118071"/>
                </a:cubicBezTo>
                <a:close/>
              </a:path>
            </a:pathLst>
          </a:custGeom>
          <a:gradFill flip="none" rotWithShape="1">
            <a:gsLst>
              <a:gs pos="0">
                <a:srgbClr val="A2E72E">
                  <a:alpha val="84000"/>
                </a:srgbClr>
              </a:gs>
              <a:gs pos="100000">
                <a:srgbClr val="86BC2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7BC269-86E9-1D40-9949-AA258634A5A5}"/>
              </a:ext>
            </a:extLst>
          </p:cNvPr>
          <p:cNvSpPr txBox="1"/>
          <p:nvPr/>
        </p:nvSpPr>
        <p:spPr>
          <a:xfrm>
            <a:off x="1832636" y="1524000"/>
            <a:ext cx="2964129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B5A1987-BFF6-C140-86D0-0B8AC2E80103}"/>
              </a:ext>
            </a:extLst>
          </p:cNvPr>
          <p:cNvCxnSpPr>
            <a:cxnSpLocks/>
          </p:cNvCxnSpPr>
          <p:nvPr/>
        </p:nvCxnSpPr>
        <p:spPr>
          <a:xfrm flipH="1">
            <a:off x="1895708" y="3953073"/>
            <a:ext cx="772537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5002145-386E-BE40-BC7A-18151B9C59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5708" y="4521475"/>
            <a:ext cx="1427769" cy="270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4186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QDplMbAZPZmukVBHQ6EQ"/>
</p:tagLst>
</file>

<file path=ppt/theme/theme1.xml><?xml version="1.0" encoding="utf-8"?>
<a:theme xmlns:a="http://schemas.openxmlformats.org/drawingml/2006/main" name="Office Theme">
  <a:themeElements>
    <a:clrScheme name="Deloitt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0000"/>
      </a:accent1>
      <a:accent2>
        <a:srgbClr val="85BB24"/>
      </a:accent2>
      <a:accent3>
        <a:srgbClr val="D8D9D8"/>
      </a:accent3>
      <a:accent4>
        <a:srgbClr val="FEFFFE"/>
      </a:accent4>
      <a:accent5>
        <a:srgbClr val="FEFFFE"/>
      </a:accent5>
      <a:accent6>
        <a:srgbClr val="FEFFFE"/>
      </a:accent6>
      <a:hlink>
        <a:srgbClr val="85BB24"/>
      </a:hlink>
      <a:folHlink>
        <a:srgbClr val="85BB2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48</TotalTime>
  <Words>391</Words>
  <Application>Microsoft Office PowerPoint</Application>
  <PresentationFormat>Widescreen</PresentationFormat>
  <Paragraphs>40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Segoe UI</vt:lpstr>
      <vt:lpstr>Segoe UI Light</vt:lpstr>
      <vt:lpstr>Office Theme</vt:lpstr>
      <vt:lpstr>think-cell Slide</vt:lpstr>
      <vt:lpstr>PowerPoint Presentation</vt:lpstr>
      <vt:lpstr>Geographic Insights</vt:lpstr>
      <vt:lpstr>Industry Insights</vt:lpstr>
      <vt:lpstr>Deal Size Distribution</vt:lpstr>
      <vt:lpstr> Deal Volume Trends</vt:lpstr>
      <vt:lpstr> Conclu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sharshvardhan1995@outlook.com</cp:lastModifiedBy>
  <cp:revision>201</cp:revision>
  <dcterms:created xsi:type="dcterms:W3CDTF">2019-08-16T12:08:31Z</dcterms:created>
  <dcterms:modified xsi:type="dcterms:W3CDTF">2025-06-20T02:22:38Z</dcterms:modified>
</cp:coreProperties>
</file>